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D$2:$D$230</c:f>
              <c:numCache>
                <c:formatCode>#,##0</c:formatCode>
                <c:ptCount val="229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3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0</c:v>
                </c:pt>
                <c:pt idx="182">
                  <c:v>797</c:v>
                </c:pt>
                <c:pt idx="183">
                  <c:v>803</c:v>
                </c:pt>
                <c:pt idx="184">
                  <c:v>824</c:v>
                </c:pt>
                <c:pt idx="185">
                  <c:v>839</c:v>
                </c:pt>
                <c:pt idx="186">
                  <c:v>849</c:v>
                </c:pt>
                <c:pt idx="187">
                  <c:v>868</c:v>
                </c:pt>
                <c:pt idx="188">
                  <c:v>916</c:v>
                </c:pt>
                <c:pt idx="189">
                  <c:v>906</c:v>
                </c:pt>
                <c:pt idx="190">
                  <c:v>915</c:v>
                </c:pt>
                <c:pt idx="191">
                  <c:v>916</c:v>
                </c:pt>
                <c:pt idx="192">
                  <c:v>927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6</c:v>
                </c:pt>
                <c:pt idx="197">
                  <c:v>925</c:v>
                </c:pt>
                <c:pt idx="198">
                  <c:v>952</c:v>
                </c:pt>
                <c:pt idx="199">
                  <c:v>944</c:v>
                </c:pt>
                <c:pt idx="200">
                  <c:v>939</c:v>
                </c:pt>
                <c:pt idx="201">
                  <c:v>934</c:v>
                </c:pt>
                <c:pt idx="202">
                  <c:v>973</c:v>
                </c:pt>
                <c:pt idx="203">
                  <c:v>932</c:v>
                </c:pt>
                <c:pt idx="204">
                  <c:v>923</c:v>
                </c:pt>
                <c:pt idx="207">
                  <c:v>880</c:v>
                </c:pt>
                <c:pt idx="208">
                  <c:v>865</c:v>
                </c:pt>
                <c:pt idx="209">
                  <c:v>869</c:v>
                </c:pt>
                <c:pt idx="210">
                  <c:v>843</c:v>
                </c:pt>
                <c:pt idx="211">
                  <c:v>814</c:v>
                </c:pt>
                <c:pt idx="212">
                  <c:v>794</c:v>
                </c:pt>
                <c:pt idx="213">
                  <c:v>766</c:v>
                </c:pt>
                <c:pt idx="214">
                  <c:v>728</c:v>
                </c:pt>
                <c:pt idx="215">
                  <c:v>717</c:v>
                </c:pt>
                <c:pt idx="216">
                  <c:v>713</c:v>
                </c:pt>
                <c:pt idx="217">
                  <c:v>736</c:v>
                </c:pt>
                <c:pt idx="218">
                  <c:v>712</c:v>
                </c:pt>
                <c:pt idx="219">
                  <c:v>678</c:v>
                </c:pt>
                <c:pt idx="220">
                  <c:v>640</c:v>
                </c:pt>
                <c:pt idx="221">
                  <c:v>616</c:v>
                </c:pt>
                <c:pt idx="222">
                  <c:v>614</c:v>
                </c:pt>
                <c:pt idx="223">
                  <c:v>604</c:v>
                </c:pt>
                <c:pt idx="224">
                  <c:v>587</c:v>
                </c:pt>
                <c:pt idx="225">
                  <c:v>553</c:v>
                </c:pt>
                <c:pt idx="226">
                  <c:v>536</c:v>
                </c:pt>
                <c:pt idx="227">
                  <c:v>526</c:v>
                </c:pt>
                <c:pt idx="228">
                  <c:v>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B$2:$B$230</c:f>
              <c:numCache>
                <c:formatCode>#,##0</c:formatCode>
                <c:ptCount val="229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C$2:$C$230</c:f>
              <c:numCache>
                <c:formatCode>#,##0</c:formatCode>
                <c:ptCount val="22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D$2:$D$230</c:f>
              <c:numCache>
                <c:formatCode>#,##0</c:formatCode>
                <c:ptCount val="229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3</c:v>
                </c:pt>
                <c:pt idx="67">
                  <c:v>3348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4</c:v>
                </c:pt>
                <c:pt idx="113">
                  <c:v>1737</c:v>
                </c:pt>
                <c:pt idx="114">
                  <c:v>1645</c:v>
                </c:pt>
                <c:pt idx="115">
                  <c:v>1748</c:v>
                </c:pt>
                <c:pt idx="116">
                  <c:v>1861</c:v>
                </c:pt>
                <c:pt idx="117">
                  <c:v>1986</c:v>
                </c:pt>
                <c:pt idx="118">
                  <c:v>2296</c:v>
                </c:pt>
                <c:pt idx="119">
                  <c:v>2354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5</c:v>
                </c:pt>
                <c:pt idx="130">
                  <c:v>2967</c:v>
                </c:pt>
                <c:pt idx="131">
                  <c:v>2975</c:v>
                </c:pt>
                <c:pt idx="132">
                  <c:v>2978</c:v>
                </c:pt>
                <c:pt idx="133">
                  <c:v>3046</c:v>
                </c:pt>
                <c:pt idx="134">
                  <c:v>2968</c:v>
                </c:pt>
                <c:pt idx="135">
                  <c:v>2928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9</c:v>
                </c:pt>
                <c:pt idx="158">
                  <c:v>2347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3</c:v>
                </c:pt>
                <c:pt idx="173">
                  <c:v>2805</c:v>
                </c:pt>
                <c:pt idx="174">
                  <c:v>2999</c:v>
                </c:pt>
                <c:pt idx="175">
                  <c:v>3018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4</c:v>
                </c:pt>
                <c:pt idx="182">
                  <c:v>3619</c:v>
                </c:pt>
                <c:pt idx="183">
                  <c:v>3595</c:v>
                </c:pt>
                <c:pt idx="184">
                  <c:v>3678</c:v>
                </c:pt>
                <c:pt idx="185">
                  <c:v>3705</c:v>
                </c:pt>
                <c:pt idx="186">
                  <c:v>3786</c:v>
                </c:pt>
                <c:pt idx="187">
                  <c:v>3875</c:v>
                </c:pt>
                <c:pt idx="188">
                  <c:v>3926</c:v>
                </c:pt>
                <c:pt idx="189">
                  <c:v>3942</c:v>
                </c:pt>
                <c:pt idx="190">
                  <c:v>3955</c:v>
                </c:pt>
                <c:pt idx="191">
                  <c:v>3927</c:v>
                </c:pt>
                <c:pt idx="192">
                  <c:v>3863</c:v>
                </c:pt>
                <c:pt idx="193">
                  <c:v>3974</c:v>
                </c:pt>
                <c:pt idx="194">
                  <c:v>4043</c:v>
                </c:pt>
                <c:pt idx="195">
                  <c:v>4189</c:v>
                </c:pt>
                <c:pt idx="196">
                  <c:v>4103</c:v>
                </c:pt>
                <c:pt idx="197">
                  <c:v>4025</c:v>
                </c:pt>
                <c:pt idx="198">
                  <c:v>3997</c:v>
                </c:pt>
                <c:pt idx="199">
                  <c:v>3794</c:v>
                </c:pt>
                <c:pt idx="200">
                  <c:v>3721</c:v>
                </c:pt>
                <c:pt idx="201">
                  <c:v>3798</c:v>
                </c:pt>
                <c:pt idx="202">
                  <c:v>3814</c:v>
                </c:pt>
                <c:pt idx="203">
                  <c:v>3685</c:v>
                </c:pt>
                <c:pt idx="204">
                  <c:v>3541</c:v>
                </c:pt>
                <c:pt idx="207">
                  <c:v>3355</c:v>
                </c:pt>
                <c:pt idx="208">
                  <c:v>3384</c:v>
                </c:pt>
                <c:pt idx="209">
                  <c:v>3354</c:v>
                </c:pt>
                <c:pt idx="210">
                  <c:v>3277</c:v>
                </c:pt>
                <c:pt idx="211">
                  <c:v>3144</c:v>
                </c:pt>
                <c:pt idx="212">
                  <c:v>2997</c:v>
                </c:pt>
                <c:pt idx="213">
                  <c:v>2814</c:v>
                </c:pt>
                <c:pt idx="214">
                  <c:v>2770</c:v>
                </c:pt>
                <c:pt idx="215">
                  <c:v>2830</c:v>
                </c:pt>
                <c:pt idx="216">
                  <c:v>2844</c:v>
                </c:pt>
                <c:pt idx="217">
                  <c:v>3045</c:v>
                </c:pt>
                <c:pt idx="218">
                  <c:v>2867</c:v>
                </c:pt>
                <c:pt idx="219">
                  <c:v>2691</c:v>
                </c:pt>
                <c:pt idx="220">
                  <c:v>2422</c:v>
                </c:pt>
                <c:pt idx="221">
                  <c:v>2336</c:v>
                </c:pt>
                <c:pt idx="222">
                  <c:v>2349</c:v>
                </c:pt>
                <c:pt idx="223">
                  <c:v>2336</c:v>
                </c:pt>
                <c:pt idx="224">
                  <c:v>2237</c:v>
                </c:pt>
                <c:pt idx="225">
                  <c:v>2105</c:v>
                </c:pt>
                <c:pt idx="226">
                  <c:v>1958</c:v>
                </c:pt>
                <c:pt idx="227">
                  <c:v>1822</c:v>
                </c:pt>
                <c:pt idx="228">
                  <c:v>17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8.4504880832907154E-8"/>
                  <c:y val="-4.93962833628225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B$2:$B$230</c:f>
              <c:numCache>
                <c:formatCode>#,##0</c:formatCode>
                <c:ptCount val="229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C$2:$C$230</c:f>
              <c:numCache>
                <c:formatCode>#,##0</c:formatCode>
                <c:ptCount val="22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D$2:$D$230</c:f>
              <c:numCache>
                <c:formatCode>#,##0</c:formatCode>
                <c:ptCount val="229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7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1</c:v>
                </c:pt>
                <c:pt idx="168">
                  <c:v>1214</c:v>
                </c:pt>
                <c:pt idx="169">
                  <c:v>1242</c:v>
                </c:pt>
                <c:pt idx="170">
                  <c:v>1267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4</c:v>
                </c:pt>
                <c:pt idx="182">
                  <c:v>1595</c:v>
                </c:pt>
                <c:pt idx="183">
                  <c:v>1622</c:v>
                </c:pt>
                <c:pt idx="184">
                  <c:v>1648</c:v>
                </c:pt>
                <c:pt idx="185">
                  <c:v>1668</c:v>
                </c:pt>
                <c:pt idx="186">
                  <c:v>1672</c:v>
                </c:pt>
                <c:pt idx="187">
                  <c:v>1675</c:v>
                </c:pt>
                <c:pt idx="188">
                  <c:v>1770</c:v>
                </c:pt>
                <c:pt idx="189">
                  <c:v>1800</c:v>
                </c:pt>
                <c:pt idx="190">
                  <c:v>1831</c:v>
                </c:pt>
                <c:pt idx="191">
                  <c:v>1820</c:v>
                </c:pt>
                <c:pt idx="192">
                  <c:v>1831</c:v>
                </c:pt>
                <c:pt idx="193">
                  <c:v>1779</c:v>
                </c:pt>
                <c:pt idx="194">
                  <c:v>1826</c:v>
                </c:pt>
                <c:pt idx="195">
                  <c:v>1884</c:v>
                </c:pt>
                <c:pt idx="196">
                  <c:v>1891</c:v>
                </c:pt>
                <c:pt idx="197">
                  <c:v>1860</c:v>
                </c:pt>
                <c:pt idx="198">
                  <c:v>1860</c:v>
                </c:pt>
                <c:pt idx="199">
                  <c:v>1820</c:v>
                </c:pt>
                <c:pt idx="200">
                  <c:v>1781</c:v>
                </c:pt>
                <c:pt idx="201">
                  <c:v>1805</c:v>
                </c:pt>
                <c:pt idx="202">
                  <c:v>1825</c:v>
                </c:pt>
                <c:pt idx="203">
                  <c:v>1778</c:v>
                </c:pt>
                <c:pt idx="204">
                  <c:v>1746</c:v>
                </c:pt>
                <c:pt idx="207">
                  <c:v>1649</c:v>
                </c:pt>
                <c:pt idx="208">
                  <c:v>1658</c:v>
                </c:pt>
                <c:pt idx="209">
                  <c:v>1668</c:v>
                </c:pt>
                <c:pt idx="210">
                  <c:v>1619</c:v>
                </c:pt>
                <c:pt idx="211">
                  <c:v>1558</c:v>
                </c:pt>
                <c:pt idx="212">
                  <c:v>1512</c:v>
                </c:pt>
                <c:pt idx="213">
                  <c:v>1428</c:v>
                </c:pt>
                <c:pt idx="214">
                  <c:v>1401</c:v>
                </c:pt>
                <c:pt idx="215">
                  <c:v>1381</c:v>
                </c:pt>
                <c:pt idx="216">
                  <c:v>1351</c:v>
                </c:pt>
                <c:pt idx="217">
                  <c:v>1403</c:v>
                </c:pt>
                <c:pt idx="218">
                  <c:v>1373</c:v>
                </c:pt>
                <c:pt idx="219">
                  <c:v>1326</c:v>
                </c:pt>
                <c:pt idx="220">
                  <c:v>1248</c:v>
                </c:pt>
                <c:pt idx="221">
                  <c:v>1231</c:v>
                </c:pt>
                <c:pt idx="222">
                  <c:v>1215</c:v>
                </c:pt>
                <c:pt idx="223">
                  <c:v>1199</c:v>
                </c:pt>
                <c:pt idx="224">
                  <c:v>1177</c:v>
                </c:pt>
                <c:pt idx="225">
                  <c:v>1131</c:v>
                </c:pt>
                <c:pt idx="226">
                  <c:v>1071</c:v>
                </c:pt>
                <c:pt idx="227">
                  <c:v>1053</c:v>
                </c:pt>
                <c:pt idx="228">
                  <c:v>1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0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2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B$2:$B$230</c:f>
              <c:numCache>
                <c:formatCode>#,##0</c:formatCode>
                <c:ptCount val="229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C$2:$C$230</c:f>
              <c:numCache>
                <c:formatCode>#,##0</c:formatCode>
                <c:ptCount val="22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D$2:$D$230</c:f>
              <c:numCache>
                <c:formatCode>#,##0</c:formatCode>
                <c:ptCount val="22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20</c:v>
                </c:pt>
                <c:pt idx="225">
                  <c:v>19</c:v>
                </c:pt>
                <c:pt idx="226">
                  <c:v>20</c:v>
                </c:pt>
                <c:pt idx="227">
                  <c:v>21</c:v>
                </c:pt>
                <c:pt idx="228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B$2:$B$230</c:f>
              <c:numCache>
                <c:formatCode>#,##0</c:formatCode>
                <c:ptCount val="229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0</c:f>
              <c:numCache>
                <c:formatCode>m/d/yyyy</c:formatCode>
                <c:ptCount val="22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</c:numCache>
            </c:numRef>
          </c:cat>
          <c:val>
            <c:numRef>
              <c:f>Sheet1!$C$2:$C$230</c:f>
              <c:numCache>
                <c:formatCode>#,##0</c:formatCode>
                <c:ptCount val="22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8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8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18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768262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9643122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5957695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13310384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251356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082336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04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597</cp:revision>
  <dcterms:created xsi:type="dcterms:W3CDTF">2020-08-08T14:25:07Z</dcterms:created>
  <dcterms:modified xsi:type="dcterms:W3CDTF">2021-04-18T03:10:23Z</dcterms:modified>
</cp:coreProperties>
</file>